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2" r:id="rId1"/>
  </p:sldMasterIdLst>
  <p:notesMasterIdLst>
    <p:notesMasterId r:id="rId24"/>
  </p:notesMasterIdLst>
  <p:handoutMasterIdLst>
    <p:handoutMasterId r:id="rId25"/>
  </p:handoutMasterIdLst>
  <p:sldIdLst>
    <p:sldId id="371" r:id="rId2"/>
    <p:sldId id="385" r:id="rId3"/>
    <p:sldId id="389" r:id="rId4"/>
    <p:sldId id="391" r:id="rId5"/>
    <p:sldId id="480" r:id="rId6"/>
    <p:sldId id="396" r:id="rId7"/>
    <p:sldId id="489" r:id="rId8"/>
    <p:sldId id="488" r:id="rId9"/>
    <p:sldId id="490" r:id="rId10"/>
    <p:sldId id="485" r:id="rId11"/>
    <p:sldId id="491" r:id="rId12"/>
    <p:sldId id="492" r:id="rId13"/>
    <p:sldId id="493" r:id="rId14"/>
    <p:sldId id="486" r:id="rId15"/>
    <p:sldId id="494" r:id="rId16"/>
    <p:sldId id="487" r:id="rId17"/>
    <p:sldId id="495" r:id="rId18"/>
    <p:sldId id="383" r:id="rId19"/>
    <p:sldId id="384" r:id="rId20"/>
    <p:sldId id="496" r:id="rId21"/>
    <p:sldId id="387" r:id="rId22"/>
    <p:sldId id="373" r:id="rId23"/>
  </p:sldIdLst>
  <p:sldSz cx="12188825" cy="6858000"/>
  <p:notesSz cx="6858000" cy="9144000"/>
  <p:custDataLst>
    <p:tags r:id="rId26"/>
  </p:custDataLst>
  <p:defaultTextStyle>
    <a:defPPr>
      <a:defRPr lang="en-US"/>
    </a:defPPr>
    <a:lvl1pPr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609493"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1218987"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828480"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2437973" algn="l" defTabSz="60949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3047467" algn="l" defTabSz="609493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3656960" algn="l" defTabSz="609493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4266453" algn="l" defTabSz="609493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4875947" algn="l" defTabSz="609493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orient="horz" pos="3913">
          <p15:clr>
            <a:srgbClr val="A4A3A4"/>
          </p15:clr>
        </p15:guide>
        <p15:guide id="3" orient="horz" pos="749">
          <p15:clr>
            <a:srgbClr val="A4A3A4"/>
          </p15:clr>
        </p15:guide>
        <p15:guide id="4" pos="393">
          <p15:clr>
            <a:srgbClr val="A4A3A4"/>
          </p15:clr>
        </p15:guide>
        <p15:guide id="5" pos="7287">
          <p15:clr>
            <a:srgbClr val="A4A3A4"/>
          </p15:clr>
        </p15:guide>
        <p15:guide id="6" pos="3842">
          <p15:clr>
            <a:srgbClr val="A4A3A4"/>
          </p15:clr>
        </p15:guide>
        <p15:guide id="7" orient="horz" pos="7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99899"/>
    <a:srgbClr val="000000"/>
    <a:srgbClr val="1D1D1C"/>
    <a:srgbClr val="00A1DF"/>
    <a:srgbClr val="414042"/>
    <a:srgbClr val="00607C"/>
    <a:srgbClr val="646469"/>
    <a:srgbClr val="00B39C"/>
    <a:srgbClr val="9A63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715" autoAdjust="0"/>
    <p:restoredTop sz="96272" autoAdjust="0"/>
  </p:normalViewPr>
  <p:slideViewPr>
    <p:cSldViewPr snapToGrid="0">
      <p:cViewPr varScale="1">
        <p:scale>
          <a:sx n="85" d="100"/>
          <a:sy n="85" d="100"/>
        </p:scale>
        <p:origin x="456" y="84"/>
      </p:cViewPr>
      <p:guideLst>
        <p:guide orient="horz" pos="2159"/>
        <p:guide orient="horz" pos="3913"/>
        <p:guide orient="horz" pos="749"/>
        <p:guide pos="393"/>
        <p:guide pos="7287"/>
        <p:guide pos="3842"/>
        <p:guide orient="horz" pos="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2DEA219-41EE-714E-A744-28B1F250A469}" type="datetimeFigureOut">
              <a:rPr lang="en-US">
                <a:latin typeface="Verdana" panose="020B0604030504040204" pitchFamily="34" charset="0"/>
              </a:rPr>
              <a:pPr>
                <a:defRPr/>
              </a:pPr>
              <a:t>2/24/2020</a:t>
            </a:fld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56A20D4-BEAD-B440-9D02-CCCABCF04B03}" type="slidenum">
              <a:rPr lang="en-US">
                <a:latin typeface="Verdana" panose="020B0604030504040204" pitchFamily="34" charset="0"/>
              </a:rPr>
              <a:pPr>
                <a:defRPr/>
              </a:pPr>
              <a:t>‹#›</a:t>
            </a:fld>
            <a:endParaRPr lang="en-US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31649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248ED3D1-5F0A-2E4E-B181-0A9A379B910F}" type="datetimeFigureOut">
              <a:rPr lang="en-US" smtClean="0"/>
              <a:pPr>
                <a:defRPr/>
              </a:pPr>
              <a:t>2/2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1546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ＭＳ Ｐゴシック" charset="0"/>
      </a:defRPr>
    </a:lvl1pPr>
    <a:lvl2pPr marL="609493"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+mn-cs"/>
      </a:defRPr>
    </a:lvl2pPr>
    <a:lvl3pPr marL="1218987"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+mn-cs"/>
      </a:defRPr>
    </a:lvl3pPr>
    <a:lvl4pPr marL="1828480"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+mn-cs"/>
      </a:defRPr>
    </a:lvl4pPr>
    <a:lvl5pPr marL="2437973" algn="l" defTabSz="60949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Verdana" panose="020B0604030504040204" pitchFamily="34" charset="0"/>
        <a:ea typeface="ＭＳ Ｐゴシック" charset="0"/>
        <a:cs typeface="+mn-cs"/>
      </a:defRPr>
    </a:lvl5pPr>
    <a:lvl6pPr marL="304746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/>
              <a:buChar char="à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931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/>
              <a:buChar char="à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782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/>
              <a:buChar char="à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024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/>
              <a:buChar char="à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837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/>
              <a:buChar char="à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0276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/>
              <a:buChar char="à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454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/>
              <a:buChar char="à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5E011A-69A2-1D4E-B3EE-C7DE7E7E5E44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935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920" y="-13185"/>
            <a:ext cx="12309214" cy="692393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4255" y="5278754"/>
            <a:ext cx="10944549" cy="430887"/>
          </a:xfrm>
        </p:spPr>
        <p:txBody>
          <a:bodyPr>
            <a:sp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sub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black">
          <a:xfrm>
            <a:off x="609442" y="4282322"/>
            <a:ext cx="10959363" cy="815608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5300"/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66141" y="1724252"/>
            <a:ext cx="8245963" cy="1390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656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1"/>
          </p:nvPr>
        </p:nvSpPr>
        <p:spPr>
          <a:xfrm>
            <a:off x="623888" y="1206501"/>
            <a:ext cx="10944225" cy="5005388"/>
          </a:xfrm>
        </p:spPr>
        <p:txBody>
          <a:bodyPr bIns="182880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17381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623888" y="1206501"/>
            <a:ext cx="10944225" cy="50053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03993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3463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or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325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03471"/>
            <a:ext cx="5254330" cy="369332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 b="0" i="0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Example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9441" y="1676400"/>
            <a:ext cx="5254330" cy="45354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6299269" y="1203471"/>
            <a:ext cx="5254330" cy="369332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 b="0" i="0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Example Sub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99269" y="1676400"/>
            <a:ext cx="5254330" cy="45354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01827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9718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47"/>
            <a:ext cx="12188825" cy="6856214"/>
          </a:xfrm>
          <a:prstGeom prst="rect">
            <a:avLst/>
          </a:pr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 bwMode="black">
          <a:xfrm>
            <a:off x="609442" y="3021196"/>
            <a:ext cx="10959363" cy="815608"/>
          </a:xfrm>
        </p:spPr>
        <p:txBody>
          <a:bodyPr anchor="ctr" anchorCtr="0">
            <a:spAutoFit/>
          </a:bodyPr>
          <a:lstStyle>
            <a:lvl1pPr algn="ctr">
              <a:lnSpc>
                <a:spcPct val="100000"/>
              </a:lnSpc>
              <a:defRPr sz="5300"/>
            </a:lvl1pPr>
          </a:lstStyle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948720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920" y="-13185"/>
            <a:ext cx="12309214" cy="692393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6344" y="3673702"/>
            <a:ext cx="10480372" cy="492443"/>
          </a:xfrm>
        </p:spPr>
        <p:txBody>
          <a:bodyPr wrap="square">
            <a:spAutoFit/>
          </a:bodyPr>
          <a:lstStyle>
            <a:lvl1pPr marL="0" indent="0" algn="ctr">
              <a:buNone/>
              <a:defRPr sz="32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sub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black">
          <a:xfrm>
            <a:off x="841845" y="2492782"/>
            <a:ext cx="10480372" cy="923330"/>
          </a:xfrm>
        </p:spPr>
        <p:txBody>
          <a:bodyPr wrap="square" anchor="ctr">
            <a:spAutoFit/>
          </a:bodyPr>
          <a:lstStyle>
            <a:lvl1pPr algn="ctr">
              <a:lnSpc>
                <a:spcPct val="100000"/>
              </a:lnSpc>
              <a:defRPr sz="6000"/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35791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920" y="-13185"/>
            <a:ext cx="12309214" cy="692393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9158" y="2483819"/>
            <a:ext cx="10050976" cy="1694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5402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9441" y="1206501"/>
            <a:ext cx="10958672" cy="50053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dirty="0" smtClean="0"/>
            </a:lvl1pPr>
            <a:lvl2pPr>
              <a:defRPr lang="en-US" sz="2000" dirty="0" smtClean="0"/>
            </a:lvl2pPr>
            <a:lvl3pPr>
              <a:defRPr lang="en-US" sz="18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42970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06500"/>
            <a:ext cx="10958672" cy="369332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 b="0" i="0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 dirty="0"/>
              <a:t>Example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9441" y="1685925"/>
            <a:ext cx="10958672" cy="452596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69637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914400"/>
            <a:ext cx="12188825" cy="5943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23888" y="1206500"/>
            <a:ext cx="5036683" cy="50053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223666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940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47"/>
            <a:ext cx="12188825" cy="6856214"/>
          </a:xfrm>
          <a:prstGeom prst="rect">
            <a:avLst/>
          </a:pr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 bwMode="black">
          <a:xfrm>
            <a:off x="609442" y="2613392"/>
            <a:ext cx="10959363" cy="8156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5300"/>
            </a:lvl1pPr>
          </a:lstStyle>
          <a:p>
            <a:r>
              <a:rPr lang="en-US" dirty="0"/>
              <a:t>Section divider title</a:t>
            </a:r>
          </a:p>
        </p:txBody>
      </p:sp>
      <p:sp>
        <p:nvSpPr>
          <p:cNvPr id="6" name="Rectangle 5"/>
          <p:cNvSpPr>
            <a:spLocks/>
          </p:cNvSpPr>
          <p:nvPr userDrawn="1"/>
        </p:nvSpPr>
        <p:spPr>
          <a:xfrm>
            <a:off x="-1" y="-4308"/>
            <a:ext cx="174172" cy="68623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2" y="3643088"/>
            <a:ext cx="10959363" cy="430887"/>
          </a:xfrm>
        </p:spPr>
        <p:txBody>
          <a:bodyPr>
            <a:sp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56492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bleed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442857" y="914400"/>
            <a:ext cx="6745968" cy="5943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23889" y="1206500"/>
            <a:ext cx="4136798" cy="50053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9866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23889" y="1206500"/>
            <a:ext cx="3378651" cy="4317999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9" y="5762172"/>
            <a:ext cx="3378651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en-US" sz="1800" smtClean="0"/>
            </a:lvl1pPr>
            <a:lvl2pPr marL="277812" indent="0">
              <a:buNone/>
              <a:defRPr lang="en-US" smtClean="0"/>
            </a:lvl2pPr>
            <a:lvl3pPr marL="547687" indent="0">
              <a:buNone/>
              <a:defRPr lang="en-US" smtClean="0"/>
            </a:lvl3pPr>
            <a:lvl4pPr marL="769937" indent="0">
              <a:buNone/>
              <a:defRPr lang="en-US" smtClean="0"/>
            </a:lvl4pPr>
            <a:lvl5pPr marL="1006475" indent="0">
              <a:buNone/>
              <a:defRPr lang="en-US"/>
            </a:lvl5pPr>
          </a:lstStyle>
          <a:p>
            <a:pPr lvl="0"/>
            <a:r>
              <a:rPr lang="en-US" dirty="0"/>
              <a:t>Placeholder for text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406675" y="1206500"/>
            <a:ext cx="3378651" cy="4317999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8189462" y="1206500"/>
            <a:ext cx="3378651" cy="4317999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cxnSp>
        <p:nvCxnSpPr>
          <p:cNvPr id="4" name="Straight Connector 3"/>
          <p:cNvCxnSpPr>
            <a:cxnSpLocks/>
          </p:cNvCxnSpPr>
          <p:nvPr userDrawn="1"/>
        </p:nvCxnSpPr>
        <p:spPr>
          <a:xfrm>
            <a:off x="623889" y="5643336"/>
            <a:ext cx="3378651" cy="0"/>
          </a:xfrm>
          <a:prstGeom prst="line">
            <a:avLst/>
          </a:prstGeom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4406675" y="5643336"/>
            <a:ext cx="3378651" cy="0"/>
          </a:xfrm>
          <a:prstGeom prst="line">
            <a:avLst/>
          </a:prstGeom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</p:cNvCxnSpPr>
          <p:nvPr userDrawn="1"/>
        </p:nvCxnSpPr>
        <p:spPr>
          <a:xfrm>
            <a:off x="8189462" y="5643336"/>
            <a:ext cx="3378651" cy="0"/>
          </a:xfrm>
          <a:prstGeom prst="line">
            <a:avLst/>
          </a:prstGeom>
          <a:ln w="127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406675" y="5762172"/>
            <a:ext cx="3378651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en-US" sz="1800" smtClean="0"/>
            </a:lvl1pPr>
            <a:lvl2pPr marL="277812" indent="0">
              <a:buNone/>
              <a:defRPr lang="en-US" smtClean="0"/>
            </a:lvl2pPr>
            <a:lvl3pPr marL="547687" indent="0">
              <a:buNone/>
              <a:defRPr lang="en-US" smtClean="0"/>
            </a:lvl3pPr>
            <a:lvl4pPr marL="769937" indent="0">
              <a:buNone/>
              <a:defRPr lang="en-US" smtClean="0"/>
            </a:lvl4pPr>
            <a:lvl5pPr marL="1006475" indent="0">
              <a:buNone/>
              <a:defRPr lang="en-US"/>
            </a:lvl5pPr>
          </a:lstStyle>
          <a:p>
            <a:pPr lvl="0"/>
            <a:r>
              <a:rPr lang="en-US" dirty="0"/>
              <a:t>Placeholder for text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189462" y="5762172"/>
            <a:ext cx="3378651" cy="2769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en-US" sz="1800" smtClean="0"/>
            </a:lvl1pPr>
            <a:lvl2pPr marL="277812" indent="0">
              <a:buNone/>
              <a:defRPr lang="en-US" smtClean="0"/>
            </a:lvl2pPr>
            <a:lvl3pPr marL="547687" indent="0">
              <a:buNone/>
              <a:defRPr lang="en-US" smtClean="0"/>
            </a:lvl3pPr>
            <a:lvl4pPr marL="769937" indent="0">
              <a:buNone/>
              <a:defRPr lang="en-US" smtClean="0"/>
            </a:lvl4pPr>
            <a:lvl5pPr marL="1006475" indent="0">
              <a:buNone/>
              <a:defRPr lang="en-US"/>
            </a:lvl5pPr>
          </a:lstStyle>
          <a:p>
            <a:pPr lvl="0"/>
            <a:r>
              <a:rPr lang="en-US" dirty="0"/>
              <a:t>Placeholder for text</a:t>
            </a:r>
          </a:p>
        </p:txBody>
      </p:sp>
    </p:spTree>
    <p:extLst>
      <p:ext uri="{BB962C8B-B14F-4D97-AF65-F5344CB8AC3E}">
        <p14:creationId xmlns:p14="http://schemas.microsoft.com/office/powerpoint/2010/main" val="362974325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78935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494"/>
            <a:ext cx="12188825" cy="925894"/>
          </a:xfrm>
          <a:prstGeom prst="rect">
            <a:avLst/>
          </a:prstGeom>
        </p:spPr>
      </p:pic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4731" y="1206500"/>
            <a:ext cx="10959363" cy="500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white">
          <a:xfrm>
            <a:off x="609443" y="0"/>
            <a:ext cx="8673454" cy="902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10883338" y="6339100"/>
            <a:ext cx="684775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3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EBA610F-6DE2-6644-8764-FCBE8B310C9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 txBox="1">
            <a:spLocks/>
          </p:cNvSpPr>
          <p:nvPr/>
        </p:nvSpPr>
        <p:spPr>
          <a:xfrm>
            <a:off x="624256" y="6339100"/>
            <a:ext cx="3384514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900" kern="1200" dirty="0" smtClean="0">
                <a:solidFill>
                  <a:schemeClr val="bg1">
                    <a:lumMod val="75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l contents </a:t>
            </a:r>
            <a:r>
              <a:rPr lang="en-GB" dirty="0">
                <a:latin typeface="Verdana"/>
                <a:ea typeface="Verdana"/>
                <a:cs typeface="Verdana"/>
              </a:rPr>
              <a:t>© </a:t>
            </a:r>
            <a:r>
              <a:rPr lang="en-GB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leSoft</a:t>
            </a:r>
            <a:r>
              <a:rPr lang="en-GB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c.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/>
          <p:cNvSpPr>
            <a:spLocks/>
          </p:cNvSpPr>
          <p:nvPr userDrawn="1"/>
        </p:nvSpPr>
        <p:spPr>
          <a:xfrm>
            <a:off x="-9547" y="819215"/>
            <a:ext cx="12198372" cy="951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72261" y="243068"/>
            <a:ext cx="2336844" cy="394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63" r:id="rId2"/>
    <p:sldLayoutId id="2147483764" r:id="rId3"/>
    <p:sldLayoutId id="2147483743" r:id="rId4"/>
    <p:sldLayoutId id="2147483766" r:id="rId5"/>
    <p:sldLayoutId id="2147483765" r:id="rId6"/>
    <p:sldLayoutId id="2147483741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</p:sldLayoutIdLst>
  <p:transition>
    <p:fade/>
  </p:transition>
  <p:hf hdr="0" ftr="0" dt="0"/>
  <p:txStyles>
    <p:titleStyle>
      <a:lvl1pPr algn="l" defTabSz="609493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09493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Ubuntu" charset="0"/>
          <a:ea typeface="ＭＳ Ｐゴシック" charset="0"/>
        </a:defRPr>
      </a:lvl2pPr>
      <a:lvl3pPr algn="l" defTabSz="609493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Ubuntu" charset="0"/>
          <a:ea typeface="ＭＳ Ｐゴシック" charset="0"/>
        </a:defRPr>
      </a:lvl3pPr>
      <a:lvl4pPr algn="l" defTabSz="609493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Ubuntu" charset="0"/>
          <a:ea typeface="ＭＳ Ｐゴシック" charset="0"/>
        </a:defRPr>
      </a:lvl4pPr>
      <a:lvl5pPr algn="l" defTabSz="609493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Ubuntu" charset="0"/>
          <a:ea typeface="ＭＳ Ｐゴシック" charset="0"/>
        </a:defRPr>
      </a:lvl5pPr>
      <a:lvl6pPr marL="609493" algn="l" defTabSz="609493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Ubuntu" charset="0"/>
          <a:ea typeface="ＭＳ Ｐゴシック" charset="0"/>
        </a:defRPr>
      </a:lvl6pPr>
      <a:lvl7pPr marL="1218987" algn="l" defTabSz="609493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Ubuntu" charset="0"/>
          <a:ea typeface="ＭＳ Ｐゴシック" charset="0"/>
        </a:defRPr>
      </a:lvl7pPr>
      <a:lvl8pPr marL="1828480" algn="l" defTabSz="609493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Ubuntu" charset="0"/>
          <a:ea typeface="ＭＳ Ｐゴシック" charset="0"/>
        </a:defRPr>
      </a:lvl8pPr>
      <a:lvl9pPr marL="2437973" algn="l" defTabSz="609493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Ubuntu" charset="0"/>
          <a:ea typeface="ＭＳ Ｐゴシック" charset="0"/>
        </a:defRPr>
      </a:lvl9pPr>
    </p:titleStyle>
    <p:bodyStyle>
      <a:lvl1pPr marL="225425" indent="-225425" algn="l" defTabSz="609493" rtl="0" eaLnBrk="1" fontAlgn="base" hangingPunct="1">
        <a:spcBef>
          <a:spcPts val="1200"/>
        </a:spcBef>
        <a:spcAft>
          <a:spcPct val="0"/>
        </a:spcAft>
        <a:buClr>
          <a:srgbClr val="00A0DF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27050" indent="-249238" algn="l" defTabSz="609493" rtl="0" eaLnBrk="1" fontAlgn="base" hangingPunct="1">
        <a:spcBef>
          <a:spcPts val="600"/>
        </a:spcBef>
        <a:spcAft>
          <a:spcPct val="0"/>
        </a:spcAft>
        <a:buClr>
          <a:srgbClr val="00A0DF"/>
        </a:buClr>
        <a:buFont typeface="Open Sans" panose="020B0606030504020204" pitchFamily="34" charset="0"/>
        <a:buChar char="–"/>
        <a:defRPr sz="20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784225" indent="-236538" algn="l" defTabSz="609493" rtl="0" eaLnBrk="1" fontAlgn="base" hangingPunct="1">
        <a:spcBef>
          <a:spcPts val="533"/>
        </a:spcBef>
        <a:spcAft>
          <a:spcPct val="0"/>
        </a:spcAft>
        <a:buClr>
          <a:srgbClr val="00A0DF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96950" marR="0" indent="-227013" algn="l" defTabSz="436563" rtl="0" eaLnBrk="1" fontAlgn="base" latinLnBrk="0" hangingPunct="1">
        <a:lnSpc>
          <a:spcPct val="100000"/>
        </a:lnSpc>
        <a:spcBef>
          <a:spcPts val="533"/>
        </a:spcBef>
        <a:spcAft>
          <a:spcPct val="0"/>
        </a:spcAft>
        <a:buClr>
          <a:srgbClr val="00A0DF"/>
        </a:buClr>
        <a:buSzTx/>
        <a:buFont typeface="Open Sans" panose="020B0606030504020204" pitchFamily="34" charset="0"/>
        <a:buChar char="–"/>
        <a:tabLst/>
        <a:defRPr sz="16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239838" indent="-233363" algn="l" defTabSz="920590" rtl="0" eaLnBrk="1" fontAlgn="base" hangingPunct="1">
        <a:spcBef>
          <a:spcPts val="533"/>
        </a:spcBef>
        <a:spcAft>
          <a:spcPct val="0"/>
        </a:spcAft>
        <a:buClr>
          <a:srgbClr val="00A0DF"/>
        </a:buClr>
        <a:buFont typeface="Arial" charset="0"/>
        <a:buChar char="•"/>
        <a:defRPr sz="1600" b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35221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meetup@mulesoft.com" TargetMode="External"/><Relationship Id="rId2" Type="http://schemas.openxmlformats.org/officeDocument/2006/relationships/hyperlink" Target="https://meetups.mulesoft.com/baltimore/" TargetMode="Externa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4255" y="5278754"/>
            <a:ext cx="10944549" cy="430887"/>
          </a:xfrm>
        </p:spPr>
        <p:txBody>
          <a:bodyPr/>
          <a:lstStyle/>
          <a:p>
            <a:r>
              <a:rPr lang="en-US" dirty="0"/>
              <a:t>[02/12/2020]:[</a:t>
            </a:r>
            <a:r>
              <a:rPr lang="en-US" cap="all" dirty="0"/>
              <a:t>How to Secure Mule API's With a Demo</a:t>
            </a:r>
            <a:r>
              <a:rPr lang="en-US" dirty="0"/>
              <a:t>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[BALTIMORE, MD]</a:t>
            </a:r>
          </a:p>
        </p:txBody>
      </p:sp>
    </p:spTree>
    <p:extLst>
      <p:ext uri="{BB962C8B-B14F-4D97-AF65-F5344CB8AC3E}">
        <p14:creationId xmlns:p14="http://schemas.microsoft.com/office/powerpoint/2010/main" val="109760065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423342"/>
            <a:ext cx="10959363" cy="815608"/>
          </a:xfrm>
        </p:spPr>
        <p:txBody>
          <a:bodyPr/>
          <a:lstStyle/>
          <a:p>
            <a:r>
              <a:rPr lang="en-US" dirty="0"/>
              <a:t>Demo 2: Securing External AP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442" y="2062640"/>
            <a:ext cx="10959363" cy="3354765"/>
          </a:xfrm>
        </p:spPr>
        <p:txBody>
          <a:bodyPr/>
          <a:lstStyle/>
          <a:p>
            <a:r>
              <a:rPr lang="en-US" dirty="0"/>
              <a:t>Configuring proxy in API Manager for an external API</a:t>
            </a:r>
          </a:p>
          <a:p>
            <a:r>
              <a:rPr lang="en-US" dirty="0"/>
              <a:t>Secure it by Basic Authentic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1, without using the polic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2, With Policy enabl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3, with negative test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Review Policy configurations</a:t>
            </a:r>
          </a:p>
        </p:txBody>
      </p:sp>
    </p:spTree>
    <p:extLst>
      <p:ext uri="{BB962C8B-B14F-4D97-AF65-F5344CB8AC3E}">
        <p14:creationId xmlns:p14="http://schemas.microsoft.com/office/powerpoint/2010/main" val="154895876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Auth Protoc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3199" y="1137919"/>
            <a:ext cx="3827817" cy="5296747"/>
          </a:xfrm>
        </p:spPr>
        <p:txBody>
          <a:bodyPr/>
          <a:lstStyle/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Step 1: Client App requests an Access token from Authorization Server</a:t>
            </a:r>
          </a:p>
          <a:p>
            <a:pPr marL="796925" lvl="2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400" dirty="0"/>
              <a:t>It provide client id, secret, grant type and audience details in the request</a:t>
            </a:r>
          </a:p>
          <a:p>
            <a:pPr marL="796925" lvl="2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400" dirty="0"/>
              <a:t>Auth Server returns the access token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Step 2: Client App makes a request to the API using the access token as bearer token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Step 3: API Gateway intercepts the request and verify the token with Authorization Server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Step 4: If the token is valid the request can process to resource API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Step 5: Client App get the request resource back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21AD699-6130-42A3-B304-E9CD9E6DCB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1017" y="1161169"/>
            <a:ext cx="7829550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72732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0 Configu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3199" y="1137919"/>
            <a:ext cx="11458223" cy="1481103"/>
          </a:xfrm>
        </p:spPr>
        <p:txBody>
          <a:bodyPr/>
          <a:lstStyle/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Step 1: Register API with unique audience details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Step 2: Register client App to receive client id &amp; secret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Step 3: Grant access from API to the client App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Note down OAuth </a:t>
            </a:r>
            <a:r>
              <a:rPr lang="en-US" sz="1600" dirty="0" err="1"/>
              <a:t>url</a:t>
            </a:r>
            <a:r>
              <a:rPr lang="en-US" sz="1600" dirty="0"/>
              <a:t>, JWKS </a:t>
            </a:r>
            <a:r>
              <a:rPr lang="en-US" sz="1600" dirty="0" err="1"/>
              <a:t>url</a:t>
            </a:r>
            <a:r>
              <a:rPr lang="en-US" sz="1600" dirty="0"/>
              <a:t> (key set), signing method, key length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CD0282-7FD1-4603-988C-FDA03D7A8D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695" y="3129265"/>
            <a:ext cx="5634574" cy="30743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01FF12A-4BBC-451D-A1B0-46C7A7E5C4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8461" y="3070578"/>
            <a:ext cx="4821753" cy="3178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44108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WT Token Stru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3199" y="1137919"/>
            <a:ext cx="4109157" cy="5296747"/>
          </a:xfrm>
        </p:spPr>
        <p:txBody>
          <a:bodyPr/>
          <a:lstStyle/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Convenient and concise way of representing authorization and authentication claim for an application. 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A well-formed JSON Web Token (JWT) consists of three concatenated Base64url-encoded strings, separated by dots (.):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Header: contains metadata about the type of token and the cryptographic algorithms used to secure its contents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Payload (set of claims): contains verifiable security statements, such as the identity of the user and the permissions they are allowed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Signature: used to validate that the token is trustworthy and has not been tampered with. You must verify this signature before storing and using a JWT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7A5EA3-4F23-4F41-8824-D7AFBF6F5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4222" y="982133"/>
            <a:ext cx="6329850" cy="5741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97948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434631"/>
            <a:ext cx="10959363" cy="815608"/>
          </a:xfrm>
        </p:spPr>
        <p:txBody>
          <a:bodyPr/>
          <a:lstStyle/>
          <a:p>
            <a:r>
              <a:rPr lang="en-US" dirty="0"/>
              <a:t>Demo 3: OAuth 2.0 using JW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442" y="2412599"/>
            <a:ext cx="10959363" cy="2769989"/>
          </a:xfrm>
        </p:spPr>
        <p:txBody>
          <a:bodyPr/>
          <a:lstStyle/>
          <a:p>
            <a:r>
              <a:rPr lang="en-US" dirty="0"/>
              <a:t>Apply OAuth 2.0 , Validate a JWT tok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1, without using the polic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2, With Policy enabl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3, with negative test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Review Policy configurations</a:t>
            </a:r>
          </a:p>
        </p:txBody>
      </p:sp>
    </p:spTree>
    <p:extLst>
      <p:ext uri="{BB962C8B-B14F-4D97-AF65-F5344CB8AC3E}">
        <p14:creationId xmlns:p14="http://schemas.microsoft.com/office/powerpoint/2010/main" val="242975692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Policy Configur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3199" y="1137919"/>
            <a:ext cx="5633157" cy="5296747"/>
          </a:xfrm>
        </p:spPr>
        <p:txBody>
          <a:bodyPr/>
          <a:lstStyle/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Develop the policy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 err="1"/>
              <a:t>Mulesoft</a:t>
            </a:r>
            <a:r>
              <a:rPr lang="en-US" sz="1400" dirty="0"/>
              <a:t> Definition file (YAML) - File in which you define characteristics of the custom policy. </a:t>
            </a:r>
            <a:endParaRPr lang="en-US" sz="1600" dirty="0"/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MuleSoft Configuration file(XML) - File in which you define the actual logic/implementation of your defined custom policy. </a:t>
            </a:r>
            <a:endParaRPr lang="en-US" sz="1600" dirty="0"/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Upload the resulting policy to API Manager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In API Manager, go to Custom Policies, and click Add Custom Policy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Select the Policy for Runtimes olden than Mule 4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In the Name field, type the name of your new policy version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Upload your YAML and XML files for your custom policy's new version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Click Add.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Apply the policy to any API through API Manager.</a:t>
            </a:r>
            <a:endParaRPr lang="en-US" sz="1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FCAC161-7055-410D-896E-0BFAB0AC56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1101" y="1151114"/>
            <a:ext cx="5118455" cy="4989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40980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434631"/>
            <a:ext cx="10959363" cy="815608"/>
          </a:xfrm>
        </p:spPr>
        <p:txBody>
          <a:bodyPr/>
          <a:lstStyle/>
          <a:p>
            <a:r>
              <a:rPr lang="en-US" dirty="0"/>
              <a:t>Demo 4: Custom Polic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442" y="2412599"/>
            <a:ext cx="10959363" cy="2769989"/>
          </a:xfrm>
        </p:spPr>
        <p:txBody>
          <a:bodyPr/>
          <a:lstStyle/>
          <a:p>
            <a:r>
              <a:rPr lang="en-US" dirty="0"/>
              <a:t>Custom Policy developed using </a:t>
            </a:r>
            <a:r>
              <a:rPr lang="en-US" dirty="0" err="1"/>
              <a:t>Anypoint</a:t>
            </a:r>
            <a:r>
              <a:rPr lang="en-US" dirty="0"/>
              <a:t> studi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1, without using the polic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2, With Policy enabl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est 3, with negative test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Review Policy configurations</a:t>
            </a:r>
          </a:p>
        </p:txBody>
      </p:sp>
    </p:spTree>
    <p:extLst>
      <p:ext uri="{BB962C8B-B14F-4D97-AF65-F5344CB8AC3E}">
        <p14:creationId xmlns:p14="http://schemas.microsoft.com/office/powerpoint/2010/main" val="107275043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 &amp; 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442" y="3643088"/>
            <a:ext cx="10959363" cy="43088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71907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hare:</a:t>
            </a:r>
          </a:p>
          <a:p>
            <a:pPr lvl="1"/>
            <a:r>
              <a:rPr lang="en-US" dirty="0"/>
              <a:t>Tweet your pictures with the hashtag </a:t>
            </a:r>
            <a:r>
              <a:rPr lang="en-US" b="1" dirty="0"/>
              <a:t>#</a:t>
            </a:r>
            <a:r>
              <a:rPr lang="en-US" b="1" dirty="0" err="1"/>
              <a:t>MuleMeetup</a:t>
            </a:r>
            <a:endParaRPr lang="en-US" dirty="0"/>
          </a:p>
          <a:p>
            <a:pPr lvl="1"/>
            <a:r>
              <a:rPr lang="en-US" dirty="0"/>
              <a:t>Invite your network to join: </a:t>
            </a:r>
            <a:r>
              <a:rPr lang="en-US" dirty="0">
                <a:hlinkClick r:id="rId2"/>
              </a:rPr>
              <a:t>https://meetups.mulesoft.com/baltimore/</a:t>
            </a:r>
            <a:endParaRPr lang="en-US" dirty="0"/>
          </a:p>
          <a:p>
            <a:r>
              <a:rPr lang="en-US" dirty="0"/>
              <a:t>Feedback:</a:t>
            </a:r>
          </a:p>
          <a:p>
            <a:pPr lvl="1"/>
            <a:r>
              <a:rPr lang="en-US" dirty="0"/>
              <a:t>Contact your organizer </a:t>
            </a:r>
            <a:r>
              <a:rPr lang="en-US" dirty="0">
                <a:hlinkClick r:id="rId2"/>
              </a:rPr>
              <a:t>Manju Kumara</a:t>
            </a:r>
            <a:r>
              <a:rPr lang="en-US" dirty="0"/>
              <a:t> to suggest topics </a:t>
            </a:r>
          </a:p>
          <a:p>
            <a:pPr lvl="1"/>
            <a:r>
              <a:rPr lang="en-US" dirty="0"/>
              <a:t>Contact </a:t>
            </a:r>
            <a:r>
              <a:rPr lang="en-US" dirty="0" err="1"/>
              <a:t>MuleSoft</a:t>
            </a:r>
            <a:r>
              <a:rPr lang="en-US" dirty="0"/>
              <a:t> at </a:t>
            </a:r>
            <a:r>
              <a:rPr lang="en-US" dirty="0">
                <a:hlinkClick r:id="rId3"/>
              </a:rPr>
              <a:t>meetup@mulesoft.com</a:t>
            </a:r>
            <a:r>
              <a:rPr lang="en-US" dirty="0"/>
              <a:t> for ways to improve the program</a:t>
            </a:r>
          </a:p>
          <a:p>
            <a:r>
              <a:rPr lang="en-US" dirty="0"/>
              <a:t>Our next meetup:</a:t>
            </a:r>
          </a:p>
          <a:p>
            <a:pPr lvl="1"/>
            <a:r>
              <a:rPr lang="en-US" dirty="0"/>
              <a:t>Date: TBD</a:t>
            </a:r>
          </a:p>
          <a:p>
            <a:pPr lvl="1"/>
            <a:r>
              <a:rPr lang="en-US" dirty="0"/>
              <a:t>Location: 7320, Parkway Drive , Hanover, MD - 21076</a:t>
            </a:r>
          </a:p>
          <a:p>
            <a:pPr lvl="1"/>
            <a:r>
              <a:rPr lang="en-US" dirty="0"/>
              <a:t>Topic: TBD</a:t>
            </a:r>
          </a:p>
        </p:txBody>
      </p:sp>
    </p:spTree>
    <p:extLst>
      <p:ext uri="{BB962C8B-B14F-4D97-AF65-F5344CB8AC3E}">
        <p14:creationId xmlns:p14="http://schemas.microsoft.com/office/powerpoint/2010/main" val="55799162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RIVIA ROUN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442" y="3643088"/>
            <a:ext cx="10959363" cy="430887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A34656-7C09-4CA8-A66A-E87909DD27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985" y="4384766"/>
            <a:ext cx="9058275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1060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troductions</a:t>
            </a:r>
          </a:p>
          <a:p>
            <a:r>
              <a:rPr lang="en-US" dirty="0"/>
              <a:t>About Speaker</a:t>
            </a:r>
          </a:p>
          <a:p>
            <a:r>
              <a:rPr lang="en-US" dirty="0"/>
              <a:t>MuleSoft Connect 2020</a:t>
            </a:r>
          </a:p>
          <a:p>
            <a:r>
              <a:rPr lang="en-US" dirty="0"/>
              <a:t>How to Secure Mule API’s with a Demo </a:t>
            </a:r>
          </a:p>
          <a:p>
            <a:pPr lvl="1"/>
            <a:r>
              <a:rPr lang="en-US" dirty="0"/>
              <a:t>Review default security polices in API Manager </a:t>
            </a:r>
          </a:p>
          <a:p>
            <a:pPr lvl="1"/>
            <a:r>
              <a:rPr lang="en-US" dirty="0"/>
              <a:t>Auto discovery concepts &amp; its internal working </a:t>
            </a:r>
          </a:p>
          <a:p>
            <a:pPr lvl="1"/>
            <a:r>
              <a:rPr lang="en-US" dirty="0"/>
              <a:t>Securing a non-secured external API</a:t>
            </a:r>
          </a:p>
          <a:p>
            <a:pPr lvl="1"/>
            <a:r>
              <a:rPr lang="en-US" dirty="0"/>
              <a:t>Using OAuth and JWT to protect API’s in Mulesoft. </a:t>
            </a:r>
          </a:p>
          <a:p>
            <a:pPr lvl="1"/>
            <a:r>
              <a:rPr lang="en-US" dirty="0"/>
              <a:t>Create and Apply custom policies</a:t>
            </a:r>
          </a:p>
          <a:p>
            <a:r>
              <a:rPr lang="en-US" dirty="0"/>
              <a:t>Q &amp; A</a:t>
            </a:r>
          </a:p>
          <a:p>
            <a:r>
              <a:rPr lang="en-US" dirty="0"/>
              <a:t>Trivia Round</a:t>
            </a:r>
          </a:p>
        </p:txBody>
      </p:sp>
    </p:spTree>
    <p:extLst>
      <p:ext uri="{BB962C8B-B14F-4D97-AF65-F5344CB8AC3E}">
        <p14:creationId xmlns:p14="http://schemas.microsoft.com/office/powerpoint/2010/main" val="101052700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ing ti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442" y="3643088"/>
            <a:ext cx="10959363" cy="430887"/>
          </a:xfrm>
        </p:spPr>
        <p:txBody>
          <a:bodyPr/>
          <a:lstStyle/>
          <a:p>
            <a:r>
              <a:rPr lang="en-US" dirty="0"/>
              <a:t>Introduce yourself to your neighbors!</a:t>
            </a:r>
          </a:p>
        </p:txBody>
      </p:sp>
    </p:spTree>
    <p:extLst>
      <p:ext uri="{BB962C8B-B14F-4D97-AF65-F5344CB8AC3E}">
        <p14:creationId xmlns:p14="http://schemas.microsoft.com/office/powerpoint/2010/main" val="417517327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e you next ti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442" y="3643088"/>
            <a:ext cx="10959363" cy="430887"/>
          </a:xfrm>
        </p:spPr>
        <p:txBody>
          <a:bodyPr/>
          <a:lstStyle/>
          <a:p>
            <a:r>
              <a:rPr lang="en-US" dirty="0"/>
              <a:t>Please send topic suggestions to the organizer</a:t>
            </a:r>
          </a:p>
        </p:txBody>
      </p:sp>
    </p:spTree>
    <p:extLst>
      <p:ext uri="{BB962C8B-B14F-4D97-AF65-F5344CB8AC3E}">
        <p14:creationId xmlns:p14="http://schemas.microsoft.com/office/powerpoint/2010/main" val="412518036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26018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eSoft Connect 202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23888" y="5399315"/>
            <a:ext cx="10944225" cy="81257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 SHOW OF HANDS:</a:t>
            </a:r>
          </a:p>
          <a:p>
            <a:pPr algn="ctr"/>
            <a:r>
              <a:rPr lang="en-US" sz="2400" dirty="0"/>
              <a:t>Who is new to this </a:t>
            </a:r>
            <a:r>
              <a:rPr lang="en-US" sz="2400" dirty="0" err="1"/>
              <a:t>MeetUp</a:t>
            </a:r>
            <a:r>
              <a:rPr lang="en-US" sz="2400" dirty="0"/>
              <a:t>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24ABB1-702A-45BC-BCC9-1B3E4D6988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83" y="1205010"/>
            <a:ext cx="12098442" cy="5652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9011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Assumptions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or this session, we are assuming audience have: </a:t>
            </a:r>
          </a:p>
          <a:p>
            <a:pPr lvl="1"/>
            <a:r>
              <a:rPr lang="en-US" dirty="0"/>
              <a:t>Familiarity with API’s. Why we need them, How we use them, etc. 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Basic knowledge of REST, SOAP, HTTP/S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ome understanding of security standards like Basic Auth, OAuth. 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Familiar with data format’s like JSON, XML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ome familiarity with </a:t>
            </a:r>
            <a:r>
              <a:rPr lang="en-US" dirty="0" err="1"/>
              <a:t>Anypoint</a:t>
            </a:r>
            <a:r>
              <a:rPr lang="en-US" dirty="0"/>
              <a:t> Platform: Design Center, Exchange &amp; Management Center (API Manager, Runtime Manger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ome knowledge of RAML, Policies</a:t>
            </a:r>
          </a:p>
        </p:txBody>
      </p:sp>
    </p:spTree>
    <p:extLst>
      <p:ext uri="{BB962C8B-B14F-4D97-AF65-F5344CB8AC3E}">
        <p14:creationId xmlns:p14="http://schemas.microsoft.com/office/powerpoint/2010/main" val="368027516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11371" y="6440220"/>
            <a:ext cx="1653744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solidFill>
                  <a:srgbClr val="BEBEBE"/>
                </a:solidFill>
                <a:latin typeface="Verdana"/>
                <a:cs typeface="Verdana"/>
              </a:rPr>
              <a:t>All contents </a:t>
            </a:r>
            <a:r>
              <a:rPr sz="900" dirty="0">
                <a:solidFill>
                  <a:srgbClr val="BEBEBE"/>
                </a:solidFill>
                <a:latin typeface="Verdana"/>
                <a:cs typeface="Verdana"/>
              </a:rPr>
              <a:t>© </a:t>
            </a:r>
            <a:r>
              <a:rPr sz="900" spc="-5" dirty="0">
                <a:solidFill>
                  <a:srgbClr val="BEBEBE"/>
                </a:solidFill>
                <a:latin typeface="Verdana"/>
                <a:cs typeface="Verdana"/>
              </a:rPr>
              <a:t>MuleSoft</a:t>
            </a:r>
            <a:r>
              <a:rPr sz="900" spc="-40" dirty="0">
                <a:solidFill>
                  <a:srgbClr val="BEBEBE"/>
                </a:solidFill>
                <a:latin typeface="Verdana"/>
                <a:cs typeface="Verdana"/>
              </a:rPr>
              <a:t> </a:t>
            </a:r>
            <a:r>
              <a:rPr sz="900" spc="-5" dirty="0">
                <a:solidFill>
                  <a:srgbClr val="BEBEBE"/>
                </a:solidFill>
                <a:latin typeface="Verdana"/>
                <a:cs typeface="Verdana"/>
              </a:rPr>
              <a:t>Inc.</a:t>
            </a:r>
            <a:endParaRPr sz="900">
              <a:latin typeface="Verdana"/>
              <a:cs typeface="Verdan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819912"/>
            <a:ext cx="12186286" cy="94615"/>
          </a:xfrm>
          <a:custGeom>
            <a:avLst/>
            <a:gdLst/>
            <a:ahLst/>
            <a:cxnLst/>
            <a:rect l="l" t="t" r="r" b="b"/>
            <a:pathLst>
              <a:path w="12189460" h="94615">
                <a:moveTo>
                  <a:pt x="0" y="0"/>
                </a:moveTo>
                <a:lnTo>
                  <a:pt x="0" y="94487"/>
                </a:lnTo>
                <a:lnTo>
                  <a:pt x="12188951" y="94487"/>
                </a:lnTo>
                <a:lnTo>
                  <a:pt x="12188951" y="0"/>
                </a:lnTo>
                <a:lnTo>
                  <a:pt x="0" y="0"/>
                </a:lnTo>
                <a:close/>
              </a:path>
            </a:pathLst>
          </a:custGeom>
          <a:solidFill>
            <a:srgbClr val="00A0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596745" y="209122"/>
            <a:ext cx="7961460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5" dirty="0"/>
              <a:t>API</a:t>
            </a:r>
            <a:r>
              <a:rPr sz="2800" spc="170" dirty="0"/>
              <a:t> </a:t>
            </a:r>
            <a:r>
              <a:rPr sz="2800" spc="-5" dirty="0"/>
              <a:t>Manager</a:t>
            </a:r>
            <a:endParaRPr sz="2800" dirty="0"/>
          </a:p>
        </p:txBody>
      </p:sp>
      <p:sp>
        <p:nvSpPr>
          <p:cNvPr id="6" name="object 6"/>
          <p:cNvSpPr txBox="1"/>
          <p:nvPr/>
        </p:nvSpPr>
        <p:spPr>
          <a:xfrm>
            <a:off x="11448099" y="6411264"/>
            <a:ext cx="130141" cy="2122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300" spc="-5" dirty="0">
                <a:solidFill>
                  <a:srgbClr val="BEBEBE"/>
                </a:solidFill>
                <a:latin typeface="Verdana"/>
                <a:cs typeface="Verdana"/>
              </a:rPr>
              <a:t>9</a:t>
            </a:r>
            <a:endParaRPr sz="1300">
              <a:latin typeface="Verdana"/>
              <a:cs typeface="Verdan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745" y="931251"/>
            <a:ext cx="4313922" cy="5238614"/>
          </a:xfrm>
          <a:prstGeom prst="rect">
            <a:avLst/>
          </a:prstGeom>
        </p:spPr>
        <p:txBody>
          <a:bodyPr vert="horz" wrap="square" lIns="0" tIns="102870" rIns="0" bIns="0" rtlCol="0">
            <a:spAutoFit/>
          </a:bodyPr>
          <a:lstStyle/>
          <a:p>
            <a:pPr marL="12700">
              <a:spcBef>
                <a:spcPts val="1205"/>
              </a:spcBef>
              <a:buClr>
                <a:srgbClr val="009FDF"/>
              </a:buClr>
              <a:tabLst>
                <a:tab pos="238760" algn="l"/>
              </a:tabLst>
            </a:pPr>
            <a:r>
              <a:rPr lang="en-US" sz="1600" spc="-10" dirty="0">
                <a:solidFill>
                  <a:srgbClr val="1D1D1C"/>
                </a:solidFill>
                <a:latin typeface="+mj-lt"/>
                <a:cs typeface="Verdana"/>
              </a:rPr>
              <a:t>Apply </a:t>
            </a:r>
            <a:r>
              <a:rPr lang="en-US" sz="1600" dirty="0">
                <a:latin typeface="+mj-lt"/>
              </a:rPr>
              <a:t>various polices for security, set throttling and rate-limiting, to ensure high performance and control.</a:t>
            </a:r>
          </a:p>
          <a:p>
            <a:pPr marL="238125" indent="-2254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>
                <a:latin typeface="+mj-lt"/>
              </a:rPr>
              <a:t>Default Policies categories</a:t>
            </a:r>
          </a:p>
          <a:p>
            <a:pPr marL="539750" lvl="1" indent="-250190">
              <a:lnSpc>
                <a:spcPct val="100000"/>
              </a:lnSpc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400" spc="-5" dirty="0">
                <a:solidFill>
                  <a:srgbClr val="1D1D1C"/>
                </a:solidFill>
                <a:latin typeface="+mj-lt"/>
                <a:cs typeface="Verdana"/>
              </a:rPr>
              <a:t>Security</a:t>
            </a:r>
            <a:endParaRPr lang="en-US" sz="1400" dirty="0">
              <a:latin typeface="+mj-lt"/>
              <a:cs typeface="Verdana"/>
            </a:endParaRPr>
          </a:p>
          <a:p>
            <a:pPr marL="539750" lvl="1" indent="-250190">
              <a:lnSpc>
                <a:spcPct val="100000"/>
              </a:lnSpc>
              <a:spcBef>
                <a:spcPts val="60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400" dirty="0">
                <a:solidFill>
                  <a:srgbClr val="1D1D1C"/>
                </a:solidFill>
                <a:latin typeface="+mj-lt"/>
                <a:cs typeface="Verdana"/>
              </a:rPr>
              <a:t>Quality of Service</a:t>
            </a:r>
            <a:endParaRPr lang="en-US" sz="1400" dirty="0">
              <a:latin typeface="+mj-lt"/>
              <a:cs typeface="Verdana"/>
            </a:endParaRPr>
          </a:p>
          <a:p>
            <a:pPr marL="539750" lvl="1" indent="-250190">
              <a:lnSpc>
                <a:spcPct val="100000"/>
              </a:lnSpc>
              <a:spcBef>
                <a:spcPts val="60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400" spc="-5" dirty="0">
                <a:solidFill>
                  <a:srgbClr val="1D1D1C"/>
                </a:solidFill>
                <a:latin typeface="+mj-lt"/>
                <a:cs typeface="Verdana"/>
              </a:rPr>
              <a:t>Troubleshooting</a:t>
            </a:r>
            <a:endParaRPr lang="en-US" sz="1400" dirty="0">
              <a:latin typeface="+mj-lt"/>
              <a:cs typeface="Verdana"/>
            </a:endParaRPr>
          </a:p>
          <a:p>
            <a:pPr marL="539750" lvl="1" indent="-250190">
              <a:lnSpc>
                <a:spcPct val="100000"/>
              </a:lnSpc>
              <a:spcBef>
                <a:spcPts val="605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400" spc="-5" dirty="0">
                <a:solidFill>
                  <a:srgbClr val="1D1D1C"/>
                </a:solidFill>
                <a:latin typeface="+mj-lt"/>
                <a:cs typeface="Verdana"/>
              </a:rPr>
              <a:t>Transformation</a:t>
            </a:r>
            <a:endParaRPr lang="en-US" sz="1400" dirty="0">
              <a:latin typeface="+mj-lt"/>
              <a:cs typeface="Verdana"/>
            </a:endParaRPr>
          </a:p>
          <a:p>
            <a:pPr marL="539750" marR="847725" lvl="1" indent="-250190">
              <a:lnSpc>
                <a:spcPct val="100000"/>
              </a:lnSpc>
              <a:spcBef>
                <a:spcPts val="60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400" dirty="0">
                <a:solidFill>
                  <a:srgbClr val="1D1D1C"/>
                </a:solidFill>
                <a:latin typeface="+mj-lt"/>
                <a:cs typeface="Verdana"/>
              </a:rPr>
              <a:t>Compliance</a:t>
            </a:r>
          </a:p>
          <a:p>
            <a:pPr marL="238125" indent="-2254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endParaRPr lang="en-US" sz="1600" spc="-10" dirty="0">
              <a:solidFill>
                <a:srgbClr val="1D1D1C"/>
              </a:solidFill>
              <a:latin typeface="+mj-lt"/>
              <a:cs typeface="Verdana"/>
            </a:endParaRPr>
          </a:p>
          <a:p>
            <a:pPr marL="238125" indent="-2254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spc="-10" dirty="0">
                <a:solidFill>
                  <a:srgbClr val="1D1D1C"/>
                </a:solidFill>
                <a:latin typeface="+mj-lt"/>
                <a:cs typeface="Verdana"/>
              </a:rPr>
              <a:t>Custom Policies - Deploy </a:t>
            </a:r>
            <a:r>
              <a:rPr lang="en-US" sz="1600" dirty="0">
                <a:latin typeface="+mj-lt"/>
              </a:rPr>
              <a:t>customized Policies as per your requirement, developed in </a:t>
            </a:r>
            <a:r>
              <a:rPr lang="en-US" sz="1600" dirty="0" err="1">
                <a:latin typeface="+mj-lt"/>
              </a:rPr>
              <a:t>Anypoint</a:t>
            </a:r>
            <a:r>
              <a:rPr lang="en-US" sz="1600" dirty="0">
                <a:latin typeface="+mj-lt"/>
              </a:rPr>
              <a:t> studio</a:t>
            </a:r>
          </a:p>
          <a:p>
            <a:pPr marL="238125" indent="-2254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endParaRPr lang="en-US" sz="1600" dirty="0">
              <a:latin typeface="+mj-lt"/>
            </a:endParaRPr>
          </a:p>
          <a:p>
            <a:pPr marL="238125" indent="-225425">
              <a:lnSpc>
                <a:spcPct val="100000"/>
              </a:lnSpc>
              <a:spcBef>
                <a:spcPts val="810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spc="-5" dirty="0">
                <a:solidFill>
                  <a:srgbClr val="1D1D1C"/>
                </a:solidFill>
                <a:latin typeface="+mj-lt"/>
                <a:cs typeface="Verdana"/>
              </a:rPr>
              <a:t>Automated Policies - Feature </a:t>
            </a:r>
            <a:r>
              <a:rPr lang="en-US" sz="1600" dirty="0">
                <a:solidFill>
                  <a:srgbClr val="1D1D1C"/>
                </a:solidFill>
                <a:latin typeface="+mj-lt"/>
                <a:cs typeface="Verdana"/>
              </a:rPr>
              <a:t>of automated</a:t>
            </a:r>
            <a:r>
              <a:rPr lang="en-US" sz="1600" spc="-95" dirty="0">
                <a:solidFill>
                  <a:srgbClr val="1D1D1C"/>
                </a:solidFill>
                <a:latin typeface="+mj-lt"/>
                <a:cs typeface="Verdana"/>
              </a:rPr>
              <a:t> </a:t>
            </a:r>
            <a:r>
              <a:rPr lang="en-US" sz="1600" spc="-10" dirty="0">
                <a:solidFill>
                  <a:srgbClr val="1D1D1C"/>
                </a:solidFill>
                <a:latin typeface="+mj-lt"/>
                <a:cs typeface="Verdana"/>
              </a:rPr>
              <a:t>policies </a:t>
            </a:r>
            <a:r>
              <a:rPr lang="en-US" sz="1600" spc="-5" dirty="0">
                <a:solidFill>
                  <a:srgbClr val="1D1D1C"/>
                </a:solidFill>
                <a:latin typeface="+mj-lt"/>
                <a:cs typeface="Verdana"/>
              </a:rPr>
              <a:t>to </a:t>
            </a:r>
            <a:r>
              <a:rPr lang="en-US" sz="1600" dirty="0">
                <a:solidFill>
                  <a:srgbClr val="1D1D1C"/>
                </a:solidFill>
                <a:latin typeface="+mj-lt"/>
                <a:cs typeface="Verdana"/>
              </a:rPr>
              <a:t>apply same set of </a:t>
            </a:r>
            <a:r>
              <a:rPr lang="en-US" sz="1600" spc="-10" dirty="0">
                <a:solidFill>
                  <a:srgbClr val="1D1D1C"/>
                </a:solidFill>
                <a:latin typeface="+mj-lt"/>
                <a:cs typeface="Verdana"/>
              </a:rPr>
              <a:t>policies </a:t>
            </a:r>
            <a:r>
              <a:rPr lang="en-US" sz="1600" spc="-5" dirty="0">
                <a:solidFill>
                  <a:srgbClr val="1D1D1C"/>
                </a:solidFill>
                <a:latin typeface="+mj-lt"/>
                <a:cs typeface="Verdana"/>
              </a:rPr>
              <a:t>to </a:t>
            </a:r>
            <a:r>
              <a:rPr lang="en-US" sz="1600" dirty="0">
                <a:solidFill>
                  <a:srgbClr val="1D1D1C"/>
                </a:solidFill>
                <a:latin typeface="+mj-lt"/>
                <a:cs typeface="Verdana"/>
              </a:rPr>
              <a:t>many</a:t>
            </a:r>
            <a:r>
              <a:rPr lang="en-US" sz="1600" spc="-5" dirty="0">
                <a:solidFill>
                  <a:srgbClr val="1D1D1C"/>
                </a:solidFill>
                <a:latin typeface="+mj-lt"/>
                <a:cs typeface="Verdana"/>
              </a:rPr>
              <a:t> API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E224C88-2E37-4B8A-A0F3-26056E8FD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0667" y="927668"/>
            <a:ext cx="7261938" cy="448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15584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Manager: Security Polic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3200" y="1137920"/>
            <a:ext cx="3434080" cy="5201180"/>
          </a:xfrm>
        </p:spPr>
        <p:txBody>
          <a:bodyPr/>
          <a:lstStyle/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Common Security Policies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endParaRPr lang="en-US" sz="1600" dirty="0"/>
          </a:p>
          <a:p>
            <a:pPr marL="539750" lvl="1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Basic authentication – Simple, LDAP</a:t>
            </a:r>
          </a:p>
          <a:p>
            <a:pPr marL="539750" lvl="1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endParaRPr lang="en-US" sz="1600" dirty="0"/>
          </a:p>
          <a:p>
            <a:pPr marL="539750" lvl="1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JSON/XML Threat protection</a:t>
            </a:r>
          </a:p>
          <a:p>
            <a:pPr marL="539750" lvl="1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endParaRPr lang="en-US" sz="1600" dirty="0"/>
          </a:p>
          <a:p>
            <a:pPr marL="539750" lvl="1" indent="-250190"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IP whitelist/blacklist</a:t>
            </a:r>
          </a:p>
          <a:p>
            <a:pPr marL="539750" lvl="1" indent="-250190"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endParaRPr lang="en-US" sz="1600" dirty="0"/>
          </a:p>
          <a:p>
            <a:pPr marL="539750" lvl="1" indent="-250190"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JWT Validation</a:t>
            </a:r>
          </a:p>
          <a:p>
            <a:pPr marL="539750" lvl="1" indent="-250190"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endParaRPr lang="en-US" sz="1600" dirty="0"/>
          </a:p>
          <a:p>
            <a:pPr marL="539750" lvl="1" indent="-250190">
              <a:spcBef>
                <a:spcPts val="605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OAuth 2.0</a:t>
            </a:r>
          </a:p>
          <a:p>
            <a:endParaRPr lang="en-US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0C14E2-5436-42A3-9BD6-ED8724466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0669" y="935911"/>
            <a:ext cx="7951916" cy="591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9091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discove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3200" y="1137920"/>
            <a:ext cx="3434080" cy="5201180"/>
          </a:xfrm>
        </p:spPr>
        <p:txBody>
          <a:bodyPr/>
          <a:lstStyle/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Autodiscovery steps: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endParaRPr lang="en-US" sz="1600" dirty="0"/>
          </a:p>
          <a:p>
            <a:pPr marL="539750" lvl="1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Step 1: Admin configures a policy on API through API Manager</a:t>
            </a:r>
          </a:p>
          <a:p>
            <a:pPr marL="539750" lvl="1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Step 2: Corresponding Mule API is deployed in Mule Runtime</a:t>
            </a:r>
          </a:p>
          <a:p>
            <a:pPr marL="539750" lvl="1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Step 3: Through Autodiscovery (API Name, Version) this policy is paired with the deployed application. </a:t>
            </a:r>
          </a:p>
          <a:p>
            <a:pPr marL="539750" lvl="1" indent="-250190">
              <a:spcBef>
                <a:spcPts val="590"/>
              </a:spcBef>
              <a:buClr>
                <a:srgbClr val="009FDF"/>
              </a:buClr>
              <a:buFont typeface="Arial"/>
              <a:buChar char="–"/>
              <a:tabLst>
                <a:tab pos="540385" algn="l"/>
              </a:tabLst>
            </a:pPr>
            <a:r>
              <a:rPr lang="en-US" sz="1600" dirty="0"/>
              <a:t>Step 4: The policy is enforced every time a API user, tries to access a resource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F1372B-5ADD-478F-B9FB-C1715889C5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4578" y="1275469"/>
            <a:ext cx="7581900" cy="46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45615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409251"/>
            <a:ext cx="10959363" cy="1631216"/>
          </a:xfrm>
        </p:spPr>
        <p:txBody>
          <a:bodyPr/>
          <a:lstStyle/>
          <a:p>
            <a:r>
              <a:rPr lang="en-US" dirty="0"/>
              <a:t>Demo 1: Auto-discovery in A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442" y="2807714"/>
            <a:ext cx="10959363" cy="861774"/>
          </a:xfrm>
        </p:spPr>
        <p:txBody>
          <a:bodyPr/>
          <a:lstStyle/>
          <a:p>
            <a:r>
              <a:rPr lang="en-US" dirty="0"/>
              <a:t>Lets see what's happening under the hood, when we apply a policy in API Manager</a:t>
            </a:r>
          </a:p>
        </p:txBody>
      </p:sp>
    </p:spTree>
    <p:extLst>
      <p:ext uri="{BB962C8B-B14F-4D97-AF65-F5344CB8AC3E}">
        <p14:creationId xmlns:p14="http://schemas.microsoft.com/office/powerpoint/2010/main" val="153003615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Endpoint Vs Proxy Endpo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BA610F-6DE2-6644-8764-FCBE8B310C9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3200" y="1137920"/>
            <a:ext cx="5407378" cy="5201180"/>
          </a:xfrm>
        </p:spPr>
        <p:txBody>
          <a:bodyPr/>
          <a:lstStyle/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You can set up one of the following types of endpoint management:</a:t>
            </a:r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Basic endpoint 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Set up a basic endpoint if you create the API using Mule Runtime, you don’t need a proxy.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endParaRPr lang="en-US" sz="1400" dirty="0"/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endParaRPr lang="en-US" sz="1600" dirty="0"/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endParaRPr lang="en-US" sz="1600" dirty="0"/>
          </a:p>
          <a:p>
            <a:pPr marL="238125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600" dirty="0"/>
              <a:t>Endpoint with proxy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When you want to leverage API Gateway capabilities and your backend API is not based on Mule Runtime</a:t>
            </a:r>
          </a:p>
          <a:p>
            <a:pPr marL="539750" lvl="1">
              <a:spcBef>
                <a:spcPts val="1205"/>
              </a:spcBef>
              <a:buClr>
                <a:srgbClr val="009FDF"/>
              </a:buClr>
              <a:buFont typeface="Arial"/>
              <a:buChar char="•"/>
              <a:tabLst>
                <a:tab pos="238760" algn="l"/>
              </a:tabLst>
            </a:pPr>
            <a:r>
              <a:rPr lang="en-US" sz="1400" dirty="0"/>
              <a:t>Or when your API is based on Mule Runtime but you are unable to define the corresponding Autodiscovery element because it is a closed code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6F7FCF-4BB7-473B-A8AD-44209ED2DE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123" y="3719693"/>
            <a:ext cx="4867918" cy="29288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C07DF50-FCC1-4CFB-93FD-D2CA5842A0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5420" y="972065"/>
            <a:ext cx="4867918" cy="2708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65918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ulesoft Corporate Template_DRAFT_0623">
  <a:themeElements>
    <a:clrScheme name="Mulesoft">
      <a:dk1>
        <a:srgbClr val="1D1D1C"/>
      </a:dk1>
      <a:lt1>
        <a:sysClr val="window" lastClr="FFFFFF"/>
      </a:lt1>
      <a:dk2>
        <a:srgbClr val="323031"/>
      </a:dk2>
      <a:lt2>
        <a:srgbClr val="00A1DF"/>
      </a:lt2>
      <a:accent1>
        <a:srgbClr val="646469"/>
      </a:accent1>
      <a:accent2>
        <a:srgbClr val="00A1DF"/>
      </a:accent2>
      <a:accent3>
        <a:srgbClr val="999899"/>
      </a:accent3>
      <a:accent4>
        <a:srgbClr val="00607C"/>
      </a:accent4>
      <a:accent5>
        <a:srgbClr val="00B39C"/>
      </a:accent5>
      <a:accent6>
        <a:srgbClr val="5E66F9"/>
      </a:accent6>
      <a:hlink>
        <a:srgbClr val="00A1DF"/>
      </a:hlink>
      <a:folHlink>
        <a:srgbClr val="00A3E0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>
          <a:buClr>
            <a:schemeClr val="bg2"/>
          </a:buCl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ulesoftMeetups_Template" id="{15B9F2B0-073A-7D41-AE3C-5CC758F718F8}" vid="{08365EA4-B11F-154D-9544-93D52E9836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ulesoftMeetups_Template</Template>
  <TotalTime>3031</TotalTime>
  <Words>1042</Words>
  <Application>Microsoft Office PowerPoint</Application>
  <PresentationFormat>Custom</PresentationFormat>
  <Paragraphs>159</Paragraphs>
  <Slides>2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Open Sans</vt:lpstr>
      <vt:lpstr>Ubuntu</vt:lpstr>
      <vt:lpstr>Verdana</vt:lpstr>
      <vt:lpstr>Wingdings</vt:lpstr>
      <vt:lpstr>Mulesoft Corporate Template_DRAFT_0623</vt:lpstr>
      <vt:lpstr>think-cell Slide</vt:lpstr>
      <vt:lpstr>[BALTIMORE, MD]</vt:lpstr>
      <vt:lpstr>Agenda</vt:lpstr>
      <vt:lpstr>MuleSoft Connect 2020</vt:lpstr>
      <vt:lpstr>Some Assumptions…</vt:lpstr>
      <vt:lpstr>API Manager</vt:lpstr>
      <vt:lpstr>API Manager: Security Policies</vt:lpstr>
      <vt:lpstr>Autodiscovery</vt:lpstr>
      <vt:lpstr>Demo 1: Auto-discovery in Action</vt:lpstr>
      <vt:lpstr>Basic Endpoint Vs Proxy Endpoint</vt:lpstr>
      <vt:lpstr>Demo 2: Securing External API</vt:lpstr>
      <vt:lpstr>OAuth Protocol</vt:lpstr>
      <vt:lpstr>Auth0 Configuration</vt:lpstr>
      <vt:lpstr>JWT Token Structure</vt:lpstr>
      <vt:lpstr>Demo 3: OAuth 2.0 using JWT</vt:lpstr>
      <vt:lpstr>Custom Policy Configurations</vt:lpstr>
      <vt:lpstr>Demo 4: Custom Policy</vt:lpstr>
      <vt:lpstr>Q &amp; A</vt:lpstr>
      <vt:lpstr>What’s next</vt:lpstr>
      <vt:lpstr>TRIVIA ROUND</vt:lpstr>
      <vt:lpstr>Networking time</vt:lpstr>
      <vt:lpstr>See you next time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NAME OF YOUR GROUP]</dc:title>
  <dc:creator>Microsoft Office User</dc:creator>
  <cp:lastModifiedBy>Kumar, Arunesh</cp:lastModifiedBy>
  <cp:revision>175</cp:revision>
  <dcterms:created xsi:type="dcterms:W3CDTF">2017-04-24T20:18:45Z</dcterms:created>
  <dcterms:modified xsi:type="dcterms:W3CDTF">2020-02-24T10:04:03Z</dcterms:modified>
</cp:coreProperties>
</file>